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</p:sldMasterIdLst>
  <p:sldIdLst>
    <p:sldId id="303" r:id="rId3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59" d="100"/>
          <a:sy n="59" d="100"/>
        </p:scale>
        <p:origin x="82" y="46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6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6" Type="http://schemas.openxmlformats.org/officeDocument/2006/relationships/oleObject" Target="../embeddings/oleObject18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3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9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0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97.xml"/><Relationship Id="rId7" Type="http://schemas.openxmlformats.org/officeDocument/2006/relationships/image" Target="../media/image11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38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6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38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6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193.vml"/><Relationship Id="rId6" Type="http://schemas.openxmlformats.org/officeDocument/2006/relationships/oleObject" Target="../embeddings/oleObject19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5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38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3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103210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639041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35283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868046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13547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8706255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4759135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7475739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87682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tags" Target="../tags/tag187.xml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tags" Target="../tags/tag186.xml"/><Relationship Id="rId2" Type="http://schemas.openxmlformats.org/officeDocument/2006/relationships/slideLayout" Target="../slideLayouts/slideLayout29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vmlDrawing" Target="../drawings/vmlDrawing186.v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6.emf"/><Relationship Id="rId10" Type="http://schemas.openxmlformats.org/officeDocument/2006/relationships/theme" Target="../theme/theme38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oleObject" Target="../embeddings/oleObject18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1e8449baf155360029a5a9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C660F6DE-8150-4244-B1C3-FC2BB76C66B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8f949678b85ef000cbcdea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8E2CBD3-FE1E-4482-9923-9DA9B90D845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17b243e190fa74a191441bd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7AE783D-3CDC-450B-8137-590F6DEDC03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54a84f929b07bd7c201a993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2C302231-9FCC-46F9-9DAB-08472C064E1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8564e82a4c6fd5013566a9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14534E9-7DDF-4452-902E-2B469492931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538490bba0925e50edb498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7594C44-D185-4C97-A64E-CDD4E107ECE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5070431fad63e328d059e98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A7E2056-BE68-4505-8E79-8F22DC64067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4d44ca9b034a287bfa8b9d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6ADB32D-8648-4DA2-A67B-4FAF7CCDFB6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8944e31a56fe10b0c2e7c4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73A2525-E909-40DA-9C0A-57CE0BEB281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9eb4ccc91a3102002e572e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40BA671-5FA7-4B2F-AAF4-543B9FB4C06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1051431d8a5d66a2f7a8582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0623004-07F5-4479-BB0C-B3161152425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594048f3b88c338548ea1ed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2F1F7103-5EED-4D30-B90C-CCE1592DA32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8f24fd8bba91a88139da32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0E88BA1-6D8E-48C2-B616-CFA962A9BC9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b6846e298963bfcb3e65be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045320D-9FB6-44C4-ADB3-B2099BD0769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c9a4776b313d3378801a62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3566A9F-1EFF-42F1-8923-0E1E8725F69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ba24dedb36a65913971efd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7C3FB7E-B944-426A-A2E3-C3B64AAED54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df74adebb0309102332c72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7B2BABC-0989-4325-A3A4-BBC3712E02F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3ee484f93f4202a69e1cba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A0B4E70-E073-482B-8FA3-B6C1CE16E0E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f65f4d7ab13e5a8f2ab48760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574C7D0-DD22-4E9C-AC97-38A45C2DC07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1cd442b7b603f8ed6d42720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3F41B56-1623-44D2-9F23-13435DBA08C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156148df91eb7731c69f3ad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0F8C604-D78E-44DF-AB56-44030CC10B8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d2e4539a83dc8488328c1f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D814B90-FA99-4611-80E8-D1F6A22E36B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580481abcb1ab245b2368a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D7B07A9-DBE6-483B-AEC4-3F80A05215E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5c64833bfc746c450f6ebf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C9098CC-7584-4924-B3DE-55B1E13BF4A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565459fbd3af433af8e6f6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CE11717-0201-4FCF-A05B-7205EA8FA99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fbfe440e82e0639d75d89a6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5471307E-670E-47B1-A1A9-2577DA851C6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a25402c8d340ef56177709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DF01355-164A-4DE7-BDC9-BA97EC7305B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4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0ae4ae88ef2ab9dbeb690f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314CB21-5B90-4CEE-BE9D-8ED3FEAB566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6974c54a7315ac7747d151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E552C31-005E-4A8B-9980-F393D18005E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06b4242b6326dbe3c240b3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0EA3F1C-A8DC-44DC-B58E-870AE99B67E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68d4a058da4ae034697cd1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A3251A1-67B8-435C-9214-3FFAAD13608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3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Thu, 14 March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30194ac996193145ad66f36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56037E5-17C6-425B-9620-BAF07DE98AD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366204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36e4c4890d2699eefe574e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724DE74-1CB9-4A48-A86B-2C6E451EAF0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fb048299f9e61f6414b640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47524EF-15E4-4ACA-8856-0B8E2C0346C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9314fddb0a63d268de08ce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C0C8F539-6C42-4841-BAFB-93F1D734805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ace42a692a09fb84eed61a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19B00BD-7AAD-44FD-859B-19C4D2802F5C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cd14aff81dea2d367f868b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44A1BDF1-7A6E-4199-BC38-25A5715A080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1404dee99d4a0a77a3cdbd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12E4117-9C20-4479-AF53-3EDEF5E998C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0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9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该解决方案，再加上采用新原料（聚缩醛和聚酯），可显著减少链条拉伸幅度，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使链条使用寿命增加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50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使用这些新原料也可减少摩擦，消除所有污染隐患，从而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降低高达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30%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FZZhunYuan-M02S"/>
                          <a:cs typeface="FZZhunYuan-M02S"/>
                        </a:rPr>
                        <a:t>的维护成本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b="0" dirty="0">
                        <a:solidFill>
                          <a:schemeClr val="tx1"/>
                        </a:solidFill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平均使用寿命为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18000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小时或3年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提高了抗拉张力，瓶胚传送过程中能更好地同步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优化了链条连接片的廓形以减少摩擦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聚醛树脂环保证了与张紧轮更好的接触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内部弹簧导引环采用聚酯材料： 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防磨损自润滑衬套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提供维护方案和套件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提供快换和非快换两种版本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可安装替代标准链条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芯轴链使用寿命增加</a:t>
            </a:r>
            <a:r>
              <a:rPr dirty="0">
                <a:latin typeface="+mn-lt"/>
                <a:cs typeface="FZZhunYuan-M02S"/>
              </a:rPr>
              <a:t>50%</a:t>
            </a:r>
            <a:endParaRPr lang="zh-CN" b="0" dirty="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390295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latin typeface="FZZhunYuan-M02S"/>
                <a:cs typeface="FZZhunYuan-M02S"/>
              </a:rPr>
              <a:t>长寿命芯轴链（咬合头技术）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优化成本，提高生产效率，更新换代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Series 2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吹瓶机（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MM、GM、TM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，烘炉间距为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40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或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50mm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，优选加热烘炉，导引型（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W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轴承））</a:t>
            </a:r>
            <a:endParaRPr kumimoji="0" lang="zh-CN" alt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967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551" y="4221088"/>
            <a:ext cx="2075813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9D3F3EAC-9E79-4C0F-A791-F22A39910D7B}"/>
              </a:ext>
            </a:extLst>
          </p:cNvPr>
          <p:cNvSpPr/>
          <p:nvPr/>
        </p:nvSpPr>
        <p:spPr>
          <a:xfrm>
            <a:off x="4774281" y="1743075"/>
            <a:ext cx="3870354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37297620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3" baseType="lpstr">
      <vt:lpstr>Arial</vt:lpstr>
      <vt:lpstr>FZZhunYuan-M02S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LIOMT</vt:lpstr>
      <vt:lpstr>think-cell Folie</vt:lpstr>
      <vt:lpstr>芯轴链使用寿命增加50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5</cp:revision>
  <dcterms:created xsi:type="dcterms:W3CDTF">2014-05-22T13:23:46Z</dcterms:created>
  <dcterms:modified xsi:type="dcterms:W3CDTF">2019-03-14T15:3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07T10:10:13.9960047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07T10:10:13.9960047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